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D$2:$D$221</c:f>
              <c:numCache>
                <c:formatCode>#,##0</c:formatCode>
                <c:ptCount val="220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6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3</c:v>
                </c:pt>
                <c:pt idx="175">
                  <c:v>697</c:v>
                </c:pt>
                <c:pt idx="176">
                  <c:v>684</c:v>
                </c:pt>
                <c:pt idx="177">
                  <c:v>730</c:v>
                </c:pt>
                <c:pt idx="178">
                  <c:v>722</c:v>
                </c:pt>
                <c:pt idx="179">
                  <c:v>716</c:v>
                </c:pt>
                <c:pt idx="180">
                  <c:v>742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7</c:v>
                </c:pt>
                <c:pt idx="190">
                  <c:v>915</c:v>
                </c:pt>
                <c:pt idx="191">
                  <c:v>917</c:v>
                </c:pt>
                <c:pt idx="192">
                  <c:v>930</c:v>
                </c:pt>
                <c:pt idx="193">
                  <c:v>912</c:v>
                </c:pt>
                <c:pt idx="194">
                  <c:v>939</c:v>
                </c:pt>
                <c:pt idx="195">
                  <c:v>943</c:v>
                </c:pt>
                <c:pt idx="196">
                  <c:v>928</c:v>
                </c:pt>
                <c:pt idx="197">
                  <c:v>927</c:v>
                </c:pt>
                <c:pt idx="198">
                  <c:v>955</c:v>
                </c:pt>
                <c:pt idx="199">
                  <c:v>946</c:v>
                </c:pt>
                <c:pt idx="200">
                  <c:v>942</c:v>
                </c:pt>
                <c:pt idx="201">
                  <c:v>937</c:v>
                </c:pt>
                <c:pt idx="202">
                  <c:v>975</c:v>
                </c:pt>
                <c:pt idx="203">
                  <c:v>933</c:v>
                </c:pt>
                <c:pt idx="204">
                  <c:v>924</c:v>
                </c:pt>
                <c:pt idx="207">
                  <c:v>879</c:v>
                </c:pt>
                <c:pt idx="208">
                  <c:v>864</c:v>
                </c:pt>
                <c:pt idx="209">
                  <c:v>867</c:v>
                </c:pt>
                <c:pt idx="210">
                  <c:v>843</c:v>
                </c:pt>
                <c:pt idx="211">
                  <c:v>815</c:v>
                </c:pt>
                <c:pt idx="212">
                  <c:v>795</c:v>
                </c:pt>
                <c:pt idx="213">
                  <c:v>768</c:v>
                </c:pt>
                <c:pt idx="214">
                  <c:v>729</c:v>
                </c:pt>
                <c:pt idx="215">
                  <c:v>710</c:v>
                </c:pt>
                <c:pt idx="216">
                  <c:v>708</c:v>
                </c:pt>
                <c:pt idx="217">
                  <c:v>732</c:v>
                </c:pt>
                <c:pt idx="218">
                  <c:v>706</c:v>
                </c:pt>
                <c:pt idx="219">
                  <c:v>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1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B$2:$B$221</c:f>
              <c:numCache>
                <c:formatCode>#,##0</c:formatCode>
                <c:ptCount val="220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C$2:$C$221</c:f>
              <c:numCache>
                <c:formatCode>#,##0</c:formatCode>
                <c:ptCount val="22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D$2:$D$221</c:f>
              <c:numCache>
                <c:formatCode>#,##0</c:formatCode>
                <c:ptCount val="220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5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7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10</c:v>
                </c:pt>
                <c:pt idx="165">
                  <c:v>2474</c:v>
                </c:pt>
                <c:pt idx="166">
                  <c:v>2592</c:v>
                </c:pt>
                <c:pt idx="167">
                  <c:v>2624</c:v>
                </c:pt>
                <c:pt idx="168">
                  <c:v>2656</c:v>
                </c:pt>
                <c:pt idx="169">
                  <c:v>2722</c:v>
                </c:pt>
                <c:pt idx="170">
                  <c:v>2763</c:v>
                </c:pt>
                <c:pt idx="171">
                  <c:v>2681</c:v>
                </c:pt>
                <c:pt idx="172">
                  <c:v>2687</c:v>
                </c:pt>
                <c:pt idx="173">
                  <c:v>2810</c:v>
                </c:pt>
                <c:pt idx="174">
                  <c:v>3003</c:v>
                </c:pt>
                <c:pt idx="175">
                  <c:v>3023</c:v>
                </c:pt>
                <c:pt idx="176">
                  <c:v>3035</c:v>
                </c:pt>
                <c:pt idx="177">
                  <c:v>3048</c:v>
                </c:pt>
                <c:pt idx="178">
                  <c:v>3132</c:v>
                </c:pt>
                <c:pt idx="179">
                  <c:v>3238</c:v>
                </c:pt>
                <c:pt idx="180">
                  <c:v>3380</c:v>
                </c:pt>
                <c:pt idx="181">
                  <c:v>3585</c:v>
                </c:pt>
                <c:pt idx="182">
                  <c:v>3630</c:v>
                </c:pt>
                <c:pt idx="183">
                  <c:v>3603</c:v>
                </c:pt>
                <c:pt idx="184">
                  <c:v>3687</c:v>
                </c:pt>
                <c:pt idx="185">
                  <c:v>3708</c:v>
                </c:pt>
                <c:pt idx="186">
                  <c:v>3793</c:v>
                </c:pt>
                <c:pt idx="187">
                  <c:v>3880</c:v>
                </c:pt>
                <c:pt idx="188">
                  <c:v>3928</c:v>
                </c:pt>
                <c:pt idx="189">
                  <c:v>3945</c:v>
                </c:pt>
                <c:pt idx="190">
                  <c:v>3956</c:v>
                </c:pt>
                <c:pt idx="191">
                  <c:v>3929</c:v>
                </c:pt>
                <c:pt idx="192">
                  <c:v>3863</c:v>
                </c:pt>
                <c:pt idx="193">
                  <c:v>3973</c:v>
                </c:pt>
                <c:pt idx="194">
                  <c:v>4041</c:v>
                </c:pt>
                <c:pt idx="195">
                  <c:v>4189</c:v>
                </c:pt>
                <c:pt idx="196">
                  <c:v>4106</c:v>
                </c:pt>
                <c:pt idx="197">
                  <c:v>4032</c:v>
                </c:pt>
                <c:pt idx="198">
                  <c:v>4007</c:v>
                </c:pt>
                <c:pt idx="199">
                  <c:v>3799</c:v>
                </c:pt>
                <c:pt idx="200">
                  <c:v>3726</c:v>
                </c:pt>
                <c:pt idx="201">
                  <c:v>3806</c:v>
                </c:pt>
                <c:pt idx="202">
                  <c:v>3828</c:v>
                </c:pt>
                <c:pt idx="203">
                  <c:v>3697</c:v>
                </c:pt>
                <c:pt idx="204">
                  <c:v>3551</c:v>
                </c:pt>
                <c:pt idx="207">
                  <c:v>3362</c:v>
                </c:pt>
                <c:pt idx="208">
                  <c:v>3391</c:v>
                </c:pt>
                <c:pt idx="209">
                  <c:v>3363</c:v>
                </c:pt>
                <c:pt idx="210">
                  <c:v>3275</c:v>
                </c:pt>
                <c:pt idx="211">
                  <c:v>3149</c:v>
                </c:pt>
                <c:pt idx="212">
                  <c:v>2998</c:v>
                </c:pt>
                <c:pt idx="213">
                  <c:v>2811</c:v>
                </c:pt>
                <c:pt idx="214">
                  <c:v>2750</c:v>
                </c:pt>
                <c:pt idx="215">
                  <c:v>2808</c:v>
                </c:pt>
                <c:pt idx="216">
                  <c:v>2822</c:v>
                </c:pt>
                <c:pt idx="217">
                  <c:v>3016</c:v>
                </c:pt>
                <c:pt idx="218">
                  <c:v>2857</c:v>
                </c:pt>
                <c:pt idx="219">
                  <c:v>2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19"/>
              <c:layout>
                <c:manualLayout>
                  <c:x val="-8.4504880832907154E-8"/>
                  <c:y val="1.34717136444061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B$2:$B$221</c:f>
              <c:numCache>
                <c:formatCode>#,##0</c:formatCode>
                <c:ptCount val="220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C$2:$C$221</c:f>
              <c:numCache>
                <c:formatCode>#,##0</c:formatCode>
                <c:ptCount val="22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D$2:$D$221</c:f>
              <c:numCache>
                <c:formatCode>#,##0</c:formatCode>
                <c:ptCount val="220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2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7</c:v>
                </c:pt>
                <c:pt idx="166">
                  <c:v>1148</c:v>
                </c:pt>
                <c:pt idx="167">
                  <c:v>1172</c:v>
                </c:pt>
                <c:pt idx="168">
                  <c:v>1216</c:v>
                </c:pt>
                <c:pt idx="169">
                  <c:v>1244</c:v>
                </c:pt>
                <c:pt idx="170">
                  <c:v>1269</c:v>
                </c:pt>
                <c:pt idx="171">
                  <c:v>1272</c:v>
                </c:pt>
                <c:pt idx="172">
                  <c:v>1272</c:v>
                </c:pt>
                <c:pt idx="173">
                  <c:v>1284</c:v>
                </c:pt>
                <c:pt idx="174">
                  <c:v>1366</c:v>
                </c:pt>
                <c:pt idx="175">
                  <c:v>1395</c:v>
                </c:pt>
                <c:pt idx="176">
                  <c:v>1412</c:v>
                </c:pt>
                <c:pt idx="177">
                  <c:v>1465</c:v>
                </c:pt>
                <c:pt idx="178">
                  <c:v>1441</c:v>
                </c:pt>
                <c:pt idx="179">
                  <c:v>1468</c:v>
                </c:pt>
                <c:pt idx="180">
                  <c:v>1505</c:v>
                </c:pt>
                <c:pt idx="181">
                  <c:v>1588</c:v>
                </c:pt>
                <c:pt idx="182">
                  <c:v>1600</c:v>
                </c:pt>
                <c:pt idx="183">
                  <c:v>1626</c:v>
                </c:pt>
                <c:pt idx="184">
                  <c:v>1651</c:v>
                </c:pt>
                <c:pt idx="185">
                  <c:v>1671</c:v>
                </c:pt>
                <c:pt idx="186">
                  <c:v>1674</c:v>
                </c:pt>
                <c:pt idx="187">
                  <c:v>1678</c:v>
                </c:pt>
                <c:pt idx="188">
                  <c:v>1772</c:v>
                </c:pt>
                <c:pt idx="189">
                  <c:v>1800</c:v>
                </c:pt>
                <c:pt idx="190">
                  <c:v>1830</c:v>
                </c:pt>
                <c:pt idx="191">
                  <c:v>1819</c:v>
                </c:pt>
                <c:pt idx="192">
                  <c:v>1836</c:v>
                </c:pt>
                <c:pt idx="193">
                  <c:v>1785</c:v>
                </c:pt>
                <c:pt idx="194">
                  <c:v>1833</c:v>
                </c:pt>
                <c:pt idx="195">
                  <c:v>1890</c:v>
                </c:pt>
                <c:pt idx="196">
                  <c:v>1896</c:v>
                </c:pt>
                <c:pt idx="197">
                  <c:v>1864</c:v>
                </c:pt>
                <c:pt idx="198">
                  <c:v>1864</c:v>
                </c:pt>
                <c:pt idx="199">
                  <c:v>1824</c:v>
                </c:pt>
                <c:pt idx="200">
                  <c:v>1787</c:v>
                </c:pt>
                <c:pt idx="201">
                  <c:v>1811</c:v>
                </c:pt>
                <c:pt idx="202">
                  <c:v>1827</c:v>
                </c:pt>
                <c:pt idx="203">
                  <c:v>1782</c:v>
                </c:pt>
                <c:pt idx="204">
                  <c:v>1749</c:v>
                </c:pt>
                <c:pt idx="207">
                  <c:v>1653</c:v>
                </c:pt>
                <c:pt idx="208">
                  <c:v>1661</c:v>
                </c:pt>
                <c:pt idx="209">
                  <c:v>1669</c:v>
                </c:pt>
                <c:pt idx="210">
                  <c:v>1621</c:v>
                </c:pt>
                <c:pt idx="211">
                  <c:v>1564</c:v>
                </c:pt>
                <c:pt idx="212">
                  <c:v>1519</c:v>
                </c:pt>
                <c:pt idx="213">
                  <c:v>1435</c:v>
                </c:pt>
                <c:pt idx="214">
                  <c:v>1398</c:v>
                </c:pt>
                <c:pt idx="215">
                  <c:v>1360</c:v>
                </c:pt>
                <c:pt idx="216">
                  <c:v>1332</c:v>
                </c:pt>
                <c:pt idx="217">
                  <c:v>1383</c:v>
                </c:pt>
                <c:pt idx="218">
                  <c:v>1362</c:v>
                </c:pt>
                <c:pt idx="219">
                  <c:v>13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1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B$2:$B$221</c:f>
              <c:numCache>
                <c:formatCode>#,##0</c:formatCode>
                <c:ptCount val="220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C$2:$C$221</c:f>
              <c:numCache>
                <c:formatCode>#,##0</c:formatCode>
                <c:ptCount val="22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D$2:$D$221</c:f>
              <c:numCache>
                <c:formatCode>#,##0</c:formatCode>
                <c:ptCount val="2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2</c:v>
                </c:pt>
                <c:pt idx="216">
                  <c:v>30</c:v>
                </c:pt>
                <c:pt idx="217">
                  <c:v>27</c:v>
                </c:pt>
                <c:pt idx="218">
                  <c:v>24</c:v>
                </c:pt>
                <c:pt idx="219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1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B$2:$B$221</c:f>
              <c:numCache>
                <c:formatCode>#,##0</c:formatCode>
                <c:ptCount val="220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1</c:f>
              <c:numCache>
                <c:formatCode>m/d/yyyy</c:formatCode>
                <c:ptCount val="22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</c:numCache>
            </c:numRef>
          </c:cat>
          <c:val>
            <c:numRef>
              <c:f>Sheet1!$C$2:$C$221</c:f>
              <c:numCache>
                <c:formatCode>#,##0</c:formatCode>
                <c:ptCount val="22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9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9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9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09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326500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0675415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52798696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3254852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974767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40609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62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586</cp:revision>
  <dcterms:created xsi:type="dcterms:W3CDTF">2020-08-08T14:25:07Z</dcterms:created>
  <dcterms:modified xsi:type="dcterms:W3CDTF">2021-04-09T03:47:06Z</dcterms:modified>
</cp:coreProperties>
</file>